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663" r:id="rId5"/>
    <p:sldId id="662" r:id="rId6"/>
    <p:sldId id="657" r:id="rId7"/>
    <p:sldId id="654" r:id="rId8"/>
  </p:sldIdLst>
  <p:sldSz cx="12192000" cy="6858000"/>
  <p:notesSz cx="6807200" cy="9939338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7FA40E-D598-405B-B716-64CDE7E81975}" v="6" dt="2022-04-11T09:27:57.8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5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92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川上" userId="064bcf3d-8164-4185-ace0-be458e0f29c9" providerId="ADAL" clId="{8D7FA40E-D598-405B-B716-64CDE7E81975}"/>
    <pc:docChg chg="undo custSel delSld modSld">
      <pc:chgData name="川上" userId="064bcf3d-8164-4185-ace0-be458e0f29c9" providerId="ADAL" clId="{8D7FA40E-D598-405B-B716-64CDE7E81975}" dt="2022-04-11T09:42:15.386" v="728" actId="20577"/>
      <pc:docMkLst>
        <pc:docMk/>
      </pc:docMkLst>
      <pc:sldChg chg="addSp delSp modSp mod">
        <pc:chgData name="川上" userId="064bcf3d-8164-4185-ace0-be458e0f29c9" providerId="ADAL" clId="{8D7FA40E-D598-405B-B716-64CDE7E81975}" dt="2022-04-08T09:58:04.436" v="119" actId="207"/>
        <pc:sldMkLst>
          <pc:docMk/>
          <pc:sldMk cId="3719811849" sldId="647"/>
        </pc:sldMkLst>
        <pc:spChg chg="add del mod">
          <ac:chgData name="川上" userId="064bcf3d-8164-4185-ace0-be458e0f29c9" providerId="ADAL" clId="{8D7FA40E-D598-405B-B716-64CDE7E81975}" dt="2022-04-08T09:57:02.592" v="3"/>
          <ac:spMkLst>
            <pc:docMk/>
            <pc:sldMk cId="3719811849" sldId="647"/>
            <ac:spMk id="4" creationId="{F7E6EB67-571D-41E4-8E19-1233E2A90DE6}"/>
          </ac:spMkLst>
        </pc:spChg>
        <pc:spChg chg="mod">
          <ac:chgData name="川上" userId="064bcf3d-8164-4185-ace0-be458e0f29c9" providerId="ADAL" clId="{8D7FA40E-D598-405B-B716-64CDE7E81975}" dt="2022-04-08T09:57:08.123" v="5"/>
          <ac:spMkLst>
            <pc:docMk/>
            <pc:sldMk cId="3719811849" sldId="647"/>
            <ac:spMk id="107" creationId="{47D44FC3-92AC-4CA7-B75F-0255F686525D}"/>
          </ac:spMkLst>
        </pc:spChg>
        <pc:spChg chg="add mod">
          <ac:chgData name="川上" userId="064bcf3d-8164-4185-ace0-be458e0f29c9" providerId="ADAL" clId="{8D7FA40E-D598-405B-B716-64CDE7E81975}" dt="2022-04-08T09:58:04.436" v="119" actId="207"/>
          <ac:spMkLst>
            <pc:docMk/>
            <pc:sldMk cId="3719811849" sldId="647"/>
            <ac:spMk id="111" creationId="{4A714A24-578E-41DC-9989-54BF52F109DA}"/>
          </ac:spMkLst>
        </pc:spChg>
      </pc:sldChg>
      <pc:sldChg chg="addSp modSp mod">
        <pc:chgData name="川上" userId="064bcf3d-8164-4185-ace0-be458e0f29c9" providerId="ADAL" clId="{8D7FA40E-D598-405B-B716-64CDE7E81975}" dt="2022-04-08T09:58:37.117" v="138" actId="1037"/>
        <pc:sldMkLst>
          <pc:docMk/>
          <pc:sldMk cId="1946727810" sldId="654"/>
        </pc:sldMkLst>
        <pc:spChg chg="add mod">
          <ac:chgData name="川上" userId="064bcf3d-8164-4185-ace0-be458e0f29c9" providerId="ADAL" clId="{8D7FA40E-D598-405B-B716-64CDE7E81975}" dt="2022-04-08T09:58:37.117" v="138" actId="1037"/>
          <ac:spMkLst>
            <pc:docMk/>
            <pc:sldMk cId="1946727810" sldId="654"/>
            <ac:spMk id="33" creationId="{C3221CA8-18D0-4427-B4CA-861FA2ACCD84}"/>
          </ac:spMkLst>
        </pc:spChg>
      </pc:sldChg>
      <pc:sldChg chg="del">
        <pc:chgData name="川上" userId="064bcf3d-8164-4185-ace0-be458e0f29c9" providerId="ADAL" clId="{8D7FA40E-D598-405B-B716-64CDE7E81975}" dt="2022-04-08T09:58:57.684" v="139" actId="2696"/>
        <pc:sldMkLst>
          <pc:docMk/>
          <pc:sldMk cId="3935167539" sldId="655"/>
        </pc:sldMkLst>
      </pc:sldChg>
      <pc:sldChg chg="del">
        <pc:chgData name="川上" userId="064bcf3d-8164-4185-ace0-be458e0f29c9" providerId="ADAL" clId="{8D7FA40E-D598-405B-B716-64CDE7E81975}" dt="2022-04-08T09:58:57.684" v="139" actId="2696"/>
        <pc:sldMkLst>
          <pc:docMk/>
          <pc:sldMk cId="2258236361" sldId="656"/>
        </pc:sldMkLst>
      </pc:sldChg>
      <pc:sldChg chg="addSp delSp modSp mod">
        <pc:chgData name="川上" userId="064bcf3d-8164-4185-ace0-be458e0f29c9" providerId="ADAL" clId="{8D7FA40E-D598-405B-B716-64CDE7E81975}" dt="2022-04-11T09:32:23.091" v="660" actId="20577"/>
        <pc:sldMkLst>
          <pc:docMk/>
          <pc:sldMk cId="3429849313" sldId="657"/>
        </pc:sldMkLst>
        <pc:spChg chg="mod">
          <ac:chgData name="川上" userId="064bcf3d-8164-4185-ace0-be458e0f29c9" providerId="ADAL" clId="{8D7FA40E-D598-405B-B716-64CDE7E81975}" dt="2022-04-11T09:30:24.620" v="568" actId="20577"/>
          <ac:spMkLst>
            <pc:docMk/>
            <pc:sldMk cId="3429849313" sldId="657"/>
            <ac:spMk id="6" creationId="{148A3C2C-1521-4C82-8E18-2A08D6E3CBE9}"/>
          </ac:spMkLst>
        </pc:spChg>
        <pc:spChg chg="del mod">
          <ac:chgData name="川上" userId="064bcf3d-8164-4185-ace0-be458e0f29c9" providerId="ADAL" clId="{8D7FA40E-D598-405B-B716-64CDE7E81975}" dt="2022-04-11T09:27:45.889" v="201" actId="478"/>
          <ac:spMkLst>
            <pc:docMk/>
            <pc:sldMk cId="3429849313" sldId="657"/>
            <ac:spMk id="8" creationId="{9DF8F037-49DD-4CDE-9926-946AF45FB9F7}"/>
          </ac:spMkLst>
        </pc:spChg>
        <pc:spChg chg="del">
          <ac:chgData name="川上" userId="064bcf3d-8164-4185-ace0-be458e0f29c9" providerId="ADAL" clId="{8D7FA40E-D598-405B-B716-64CDE7E81975}" dt="2022-04-11T09:27:53.809" v="203" actId="478"/>
          <ac:spMkLst>
            <pc:docMk/>
            <pc:sldMk cId="3429849313" sldId="657"/>
            <ac:spMk id="11" creationId="{DA673A4E-549D-4702-AF45-8020F6FE5376}"/>
          </ac:spMkLst>
        </pc:spChg>
        <pc:spChg chg="mod">
          <ac:chgData name="川上" userId="064bcf3d-8164-4185-ace0-be458e0f29c9" providerId="ADAL" clId="{8D7FA40E-D598-405B-B716-64CDE7E81975}" dt="2022-04-11T09:31:55.283" v="635" actId="20577"/>
          <ac:spMkLst>
            <pc:docMk/>
            <pc:sldMk cId="3429849313" sldId="657"/>
            <ac:spMk id="15" creationId="{C5B12015-FD0B-4818-B1D7-56703AB7846B}"/>
          </ac:spMkLst>
        </pc:spChg>
        <pc:spChg chg="mod">
          <ac:chgData name="川上" userId="064bcf3d-8164-4185-ace0-be458e0f29c9" providerId="ADAL" clId="{8D7FA40E-D598-405B-B716-64CDE7E81975}" dt="2022-04-11T09:31:59.886" v="636" actId="20577"/>
          <ac:spMkLst>
            <pc:docMk/>
            <pc:sldMk cId="3429849313" sldId="657"/>
            <ac:spMk id="16" creationId="{EC7F2967-F9C4-499F-9FD8-FC311AD18501}"/>
          </ac:spMkLst>
        </pc:spChg>
        <pc:spChg chg="mod">
          <ac:chgData name="川上" userId="064bcf3d-8164-4185-ace0-be458e0f29c9" providerId="ADAL" clId="{8D7FA40E-D598-405B-B716-64CDE7E81975}" dt="2022-04-11T09:32:23.091" v="660" actId="20577"/>
          <ac:spMkLst>
            <pc:docMk/>
            <pc:sldMk cId="3429849313" sldId="657"/>
            <ac:spMk id="17" creationId="{082D4BA3-5A46-424B-B166-6CF538C5D087}"/>
          </ac:spMkLst>
        </pc:spChg>
        <pc:spChg chg="mod">
          <ac:chgData name="川上" userId="064bcf3d-8164-4185-ace0-be458e0f29c9" providerId="ADAL" clId="{8D7FA40E-D598-405B-B716-64CDE7E81975}" dt="2022-04-11T09:24:34.250" v="161" actId="20577"/>
          <ac:spMkLst>
            <pc:docMk/>
            <pc:sldMk cId="3429849313" sldId="657"/>
            <ac:spMk id="18" creationId="{B0AB4C2C-39E9-4DFF-B708-4E53D718F09A}"/>
          </ac:spMkLst>
        </pc:spChg>
        <pc:spChg chg="add mod">
          <ac:chgData name="川上" userId="064bcf3d-8164-4185-ace0-be458e0f29c9" providerId="ADAL" clId="{8D7FA40E-D598-405B-B716-64CDE7E81975}" dt="2022-04-11T09:27:52.064" v="202" actId="1076"/>
          <ac:spMkLst>
            <pc:docMk/>
            <pc:sldMk cId="3429849313" sldId="657"/>
            <ac:spMk id="19" creationId="{C8A19F9C-A119-4B7F-B62F-EFC792BB7BB9}"/>
          </ac:spMkLst>
        </pc:spChg>
        <pc:spChg chg="add mod">
          <ac:chgData name="川上" userId="064bcf3d-8164-4185-ace0-be458e0f29c9" providerId="ADAL" clId="{8D7FA40E-D598-405B-B716-64CDE7E81975}" dt="2022-04-11T09:28:10.159" v="206" actId="1035"/>
          <ac:spMkLst>
            <pc:docMk/>
            <pc:sldMk cId="3429849313" sldId="657"/>
            <ac:spMk id="20" creationId="{ABF47510-EB67-4265-9A21-1BBA8E3C53A7}"/>
          </ac:spMkLst>
        </pc:spChg>
      </pc:sldChg>
      <pc:sldChg chg="del">
        <pc:chgData name="川上" userId="064bcf3d-8164-4185-ace0-be458e0f29c9" providerId="ADAL" clId="{8D7FA40E-D598-405B-B716-64CDE7E81975}" dt="2022-04-08T09:58:57.684" v="139" actId="2696"/>
        <pc:sldMkLst>
          <pc:docMk/>
          <pc:sldMk cId="1555937661" sldId="658"/>
        </pc:sldMkLst>
      </pc:sldChg>
      <pc:sldChg chg="del">
        <pc:chgData name="川上" userId="064bcf3d-8164-4185-ace0-be458e0f29c9" providerId="ADAL" clId="{8D7FA40E-D598-405B-B716-64CDE7E81975}" dt="2022-04-08T09:56:26.130" v="0" actId="2696"/>
        <pc:sldMkLst>
          <pc:docMk/>
          <pc:sldMk cId="3453812913" sldId="659"/>
        </pc:sldMkLst>
      </pc:sldChg>
      <pc:sldChg chg="addSp delSp modSp mod">
        <pc:chgData name="川上" userId="064bcf3d-8164-4185-ace0-be458e0f29c9" providerId="ADAL" clId="{8D7FA40E-D598-405B-B716-64CDE7E81975}" dt="2022-04-11T09:18:15.641" v="141" actId="478"/>
        <pc:sldMkLst>
          <pc:docMk/>
          <pc:sldMk cId="2743702074" sldId="660"/>
        </pc:sldMkLst>
        <pc:graphicFrameChg chg="add del mod">
          <ac:chgData name="川上" userId="064bcf3d-8164-4185-ace0-be458e0f29c9" providerId="ADAL" clId="{8D7FA40E-D598-405B-B716-64CDE7E81975}" dt="2022-04-11T09:18:15.641" v="141" actId="478"/>
          <ac:graphicFrameMkLst>
            <pc:docMk/>
            <pc:sldMk cId="2743702074" sldId="660"/>
            <ac:graphicFrameMk id="3" creationId="{121AABB1-7C71-4B7E-B2A3-862C8B7B49A9}"/>
          </ac:graphicFrameMkLst>
        </pc:graphicFrameChg>
      </pc:sldChg>
      <pc:sldChg chg="del">
        <pc:chgData name="川上" userId="064bcf3d-8164-4185-ace0-be458e0f29c9" providerId="ADAL" clId="{8D7FA40E-D598-405B-B716-64CDE7E81975}" dt="2022-04-08T09:58:57.684" v="139" actId="2696"/>
        <pc:sldMkLst>
          <pc:docMk/>
          <pc:sldMk cId="2971327891" sldId="661"/>
        </pc:sldMkLst>
      </pc:sldChg>
      <pc:sldChg chg="modSp mod">
        <pc:chgData name="川上" userId="064bcf3d-8164-4185-ace0-be458e0f29c9" providerId="ADAL" clId="{8D7FA40E-D598-405B-B716-64CDE7E81975}" dt="2022-04-11T09:38:21.691" v="696" actId="20577"/>
        <pc:sldMkLst>
          <pc:docMk/>
          <pc:sldMk cId="3965721779" sldId="662"/>
        </pc:sldMkLst>
        <pc:spChg chg="mod">
          <ac:chgData name="川上" userId="064bcf3d-8164-4185-ace0-be458e0f29c9" providerId="ADAL" clId="{8D7FA40E-D598-405B-B716-64CDE7E81975}" dt="2022-04-11T09:36:58.456" v="678" actId="20577"/>
          <ac:spMkLst>
            <pc:docMk/>
            <pc:sldMk cId="3965721779" sldId="662"/>
            <ac:spMk id="5" creationId="{DEA93759-7D14-4853-9B5A-C96BC45F1109}"/>
          </ac:spMkLst>
        </pc:spChg>
        <pc:spChg chg="mod">
          <ac:chgData name="川上" userId="064bcf3d-8164-4185-ace0-be458e0f29c9" providerId="ADAL" clId="{8D7FA40E-D598-405B-B716-64CDE7E81975}" dt="2022-04-11T09:38:21.691" v="696" actId="20577"/>
          <ac:spMkLst>
            <pc:docMk/>
            <pc:sldMk cId="3965721779" sldId="662"/>
            <ac:spMk id="6" creationId="{D99E0AE0-151B-48D8-AF3E-4A9A584A13AA}"/>
          </ac:spMkLst>
        </pc:spChg>
      </pc:sldChg>
      <pc:sldChg chg="modSp mod">
        <pc:chgData name="川上" userId="064bcf3d-8164-4185-ace0-be458e0f29c9" providerId="ADAL" clId="{8D7FA40E-D598-405B-B716-64CDE7E81975}" dt="2022-04-11T09:42:15.386" v="728" actId="20577"/>
        <pc:sldMkLst>
          <pc:docMk/>
          <pc:sldMk cId="2466703918" sldId="663"/>
        </pc:sldMkLst>
        <pc:spChg chg="mod">
          <ac:chgData name="川上" userId="064bcf3d-8164-4185-ace0-be458e0f29c9" providerId="ADAL" clId="{8D7FA40E-D598-405B-B716-64CDE7E81975}" dt="2022-04-11T09:42:15.386" v="728" actId="20577"/>
          <ac:spMkLst>
            <pc:docMk/>
            <pc:sldMk cId="2466703918" sldId="663"/>
            <ac:spMk id="5" creationId="{DEA93759-7D14-4853-9B5A-C96BC45F1109}"/>
          </ac:spMkLst>
        </pc:spChg>
        <pc:spChg chg="mod">
          <ac:chgData name="川上" userId="064bcf3d-8164-4185-ace0-be458e0f29c9" providerId="ADAL" clId="{8D7FA40E-D598-405B-B716-64CDE7E81975}" dt="2022-04-11T09:41:23.640" v="722" actId="21"/>
          <ac:spMkLst>
            <pc:docMk/>
            <pc:sldMk cId="2466703918" sldId="663"/>
            <ac:spMk id="6" creationId="{D99E0AE0-151B-48D8-AF3E-4A9A584A13AA}"/>
          </ac:spMkLst>
        </pc:spChg>
      </pc:sldChg>
    </pc:docChg>
  </pc:docChgLst>
  <pc:docChgLst>
    <pc:chgData name="今津" userId="6919ef07-f5cf-4980-931e-94f25a4d8771" providerId="ADAL" clId="{2E2D1DB4-E6BA-497B-B309-73572AFBAD82}"/>
    <pc:docChg chg="modSld">
      <pc:chgData name="今津" userId="6919ef07-f5cf-4980-931e-94f25a4d8771" providerId="ADAL" clId="{2E2D1DB4-E6BA-497B-B309-73572AFBAD82}" dt="2022-04-12T01:48:56.691" v="7" actId="20577"/>
      <pc:docMkLst>
        <pc:docMk/>
      </pc:docMkLst>
      <pc:sldChg chg="modSp mod">
        <pc:chgData name="今津" userId="6919ef07-f5cf-4980-931e-94f25a4d8771" providerId="ADAL" clId="{2E2D1DB4-E6BA-497B-B309-73572AFBAD82}" dt="2022-04-12T01:48:56.691" v="7" actId="20577"/>
        <pc:sldMkLst>
          <pc:docMk/>
          <pc:sldMk cId="3965721779" sldId="662"/>
        </pc:sldMkLst>
        <pc:spChg chg="mod">
          <ac:chgData name="今津" userId="6919ef07-f5cf-4980-931e-94f25a4d8771" providerId="ADAL" clId="{2E2D1DB4-E6BA-497B-B309-73572AFBAD82}" dt="2022-04-12T01:48:56.691" v="7" actId="20577"/>
          <ac:spMkLst>
            <pc:docMk/>
            <pc:sldMk cId="3965721779" sldId="662"/>
            <ac:spMk id="6" creationId="{D99E0AE0-151B-48D8-AF3E-4A9A584A13AA}"/>
          </ac:spMkLst>
        </pc:spChg>
      </pc:sldChg>
      <pc:sldChg chg="modSp mod">
        <pc:chgData name="今津" userId="6919ef07-f5cf-4980-931e-94f25a4d8771" providerId="ADAL" clId="{2E2D1DB4-E6BA-497B-B309-73572AFBAD82}" dt="2022-04-12T01:39:58.755" v="3" actId="20577"/>
        <pc:sldMkLst>
          <pc:docMk/>
          <pc:sldMk cId="2466703918" sldId="663"/>
        </pc:sldMkLst>
        <pc:spChg chg="mod">
          <ac:chgData name="今津" userId="6919ef07-f5cf-4980-931e-94f25a4d8771" providerId="ADAL" clId="{2E2D1DB4-E6BA-497B-B309-73572AFBAD82}" dt="2022-04-12T01:39:58.755" v="3" actId="20577"/>
          <ac:spMkLst>
            <pc:docMk/>
            <pc:sldMk cId="2466703918" sldId="663"/>
            <ac:spMk id="5" creationId="{DEA93759-7D14-4853-9B5A-C96BC45F1109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A83EDA5-C999-4D70-B7DE-24B218C114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775979C8-D21D-47B0-B7D4-B27B5FDFB8B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674158D-2DF6-429D-9B80-4ED3D5CD1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31E1DBB3-3411-45CB-A874-4B3A73C04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5A43AC64-B66D-42F0-B11D-33814D4AF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524324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674ACF-FD89-4818-AF4B-2A1E66DB4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6357B0CC-AEB1-425D-BAFD-6B41ED0BD9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33F2557-66C6-4C13-8BF6-89C9598F4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E01B4D0C-920C-46CF-8D10-A8FFD5E46D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6DA0DE5-5A57-4F3B-AFCD-6BF400727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94911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>
            <a:extLst>
              <a:ext uri="{FF2B5EF4-FFF2-40B4-BE49-F238E27FC236}">
                <a16:creationId xmlns:a16="http://schemas.microsoft.com/office/drawing/2014/main" id="{CA71AA0F-51EC-4860-BA64-40DBAD756E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>
            <a:extLst>
              <a:ext uri="{FF2B5EF4-FFF2-40B4-BE49-F238E27FC236}">
                <a16:creationId xmlns:a16="http://schemas.microsoft.com/office/drawing/2014/main" id="{D6AA88BB-DB61-4170-9AA8-48949D00EC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F2A87311-6183-4230-8FE8-A1EE8737EA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D9CFE7B-1768-4F6C-A634-977B08DA8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831529BF-21B1-4FBE-A6DA-8DC7FCEFB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64759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2996109-58BB-4329-81D0-C2D10C87B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E6F81927-3EC5-4319-81EF-B4FA3F5927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63E88D6C-2573-4272-9931-2922057775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DE3C7679-2DDF-40BC-AF2C-8EB8C51C2D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AF0B46AF-00E3-4BB3-AC74-55E602CC3E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31183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8FE3F185-9544-479A-81EC-76D5E35E3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5C71002-EB25-465C-8A19-7AAA2ABCE0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43053A9-5ECB-4302-AB7A-95B093AFF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9100B00E-1EED-4FBC-9DD5-C8D176BEC9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4ECFDDAB-94D8-4BA6-BC20-5FF8459D1A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053248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0CC93EB-3536-48EB-A411-DD91DF1CF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3F3F04FE-DE1B-4487-8C58-5C37808942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11DA1FBD-E69B-473D-BCA6-CF7F8DAB3D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FD608C5B-7C07-4DEF-901E-07A7A697A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F9322D60-324F-459C-B96F-42E8A49CC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3B3DF215-7D18-41FD-93CE-D7FF5ECCB5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5053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14F8A15B-6135-424C-A509-D336229AF0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8CC5580-4FB4-4513-97EA-6272CE00E5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>
            <a:extLst>
              <a:ext uri="{FF2B5EF4-FFF2-40B4-BE49-F238E27FC236}">
                <a16:creationId xmlns:a16="http://schemas.microsoft.com/office/drawing/2014/main" id="{61E41E88-A58E-443D-98B6-4F2DF6840B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3A878D7E-229A-4287-A688-AA7A730413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>
            <a:extLst>
              <a:ext uri="{FF2B5EF4-FFF2-40B4-BE49-F238E27FC236}">
                <a16:creationId xmlns:a16="http://schemas.microsoft.com/office/drawing/2014/main" id="{DFA02533-6904-4242-BCCD-AC0648E3FBA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>
            <a:extLst>
              <a:ext uri="{FF2B5EF4-FFF2-40B4-BE49-F238E27FC236}">
                <a16:creationId xmlns:a16="http://schemas.microsoft.com/office/drawing/2014/main" id="{FB31DDA4-FDDA-495B-B1B6-0A0946D944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8" name="フッター プレースホルダー 7">
            <a:extLst>
              <a:ext uri="{FF2B5EF4-FFF2-40B4-BE49-F238E27FC236}">
                <a16:creationId xmlns:a16="http://schemas.microsoft.com/office/drawing/2014/main" id="{4FA4A159-EE4E-4734-B05B-1B519DA715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>
            <a:extLst>
              <a:ext uri="{FF2B5EF4-FFF2-40B4-BE49-F238E27FC236}">
                <a16:creationId xmlns:a16="http://schemas.microsoft.com/office/drawing/2014/main" id="{A2FFF671-7A6D-4210-A408-05C6779E3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141849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5048AE4-3959-49D9-9070-211F37614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8DFE62DA-75E8-4169-AC73-318D4C1F75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635519EF-1011-4AE1-99C6-862800A1C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B4AD251D-D11D-4BB9-9CB6-4C48D165AA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1415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>
            <a:extLst>
              <a:ext uri="{FF2B5EF4-FFF2-40B4-BE49-F238E27FC236}">
                <a16:creationId xmlns:a16="http://schemas.microsoft.com/office/drawing/2014/main" id="{6D5466CB-19E3-48F3-B6C9-28923070C4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3" name="フッター プレースホルダー 2">
            <a:extLst>
              <a:ext uri="{FF2B5EF4-FFF2-40B4-BE49-F238E27FC236}">
                <a16:creationId xmlns:a16="http://schemas.microsoft.com/office/drawing/2014/main" id="{052A9283-028C-453A-A6B6-7DDB3693D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F941F3AD-7744-465D-9E04-B61FD018E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73471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B170211A-1164-428A-ACA3-02F5772546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CA7B0670-916F-4A3E-8FD4-5958B21F36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FF0E75AD-6BC1-4161-8A24-493C815EC96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781A192D-F76C-4212-BF63-A78817C8C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552F2EB1-53F9-49AC-8192-8E6F11DC88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1453C9A4-6100-4622-978D-3661A5D1D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496464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09E39C36-B9F7-44C5-BF7D-B5DFF6AAB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>
            <a:extLst>
              <a:ext uri="{FF2B5EF4-FFF2-40B4-BE49-F238E27FC236}">
                <a16:creationId xmlns:a16="http://schemas.microsoft.com/office/drawing/2014/main" id="{E58508CE-0B7E-4C29-8449-11B333CBB08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157DBB60-E5F2-4637-95D9-C25C812FC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>
            <a:extLst>
              <a:ext uri="{FF2B5EF4-FFF2-40B4-BE49-F238E27FC236}">
                <a16:creationId xmlns:a16="http://schemas.microsoft.com/office/drawing/2014/main" id="{A2F38119-4E44-473F-9F74-C1FB23861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6" name="フッター プレースホルダー 5">
            <a:extLst>
              <a:ext uri="{FF2B5EF4-FFF2-40B4-BE49-F238E27FC236}">
                <a16:creationId xmlns:a16="http://schemas.microsoft.com/office/drawing/2014/main" id="{A3F0FE3B-68FE-47B6-99EF-B1D876A60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>
            <a:extLst>
              <a:ext uri="{FF2B5EF4-FFF2-40B4-BE49-F238E27FC236}">
                <a16:creationId xmlns:a16="http://schemas.microsoft.com/office/drawing/2014/main" id="{19445E6F-08C8-4EB9-9FD4-01D4DF3C6F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7001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9DBBEF27-1D74-4631-91D2-1217C6B1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5367B6EB-5F64-41FC-BBF2-6F361BE39B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9E9BA5A6-1ECC-4D8D-87D6-151FD0856A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16063B-E811-4C58-82C0-195E812553A6}" type="datetimeFigureOut">
              <a:rPr kumimoji="1" lang="ja-JP" altLang="en-US" smtClean="0"/>
              <a:t>2024/3/28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A8F0BD7C-EDBB-4F64-B2B5-9B662C488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43709B4-034B-4980-9C3B-3040042F6B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3A7A1F-D08F-473A-B050-7BC15AF8ACA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58810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F1F48DB-F8F6-4F58-B4F2-6A46ED918B50}"/>
              </a:ext>
            </a:extLst>
          </p:cNvPr>
          <p:cNvSpPr txBox="1"/>
          <p:nvPr/>
        </p:nvSpPr>
        <p:spPr>
          <a:xfrm>
            <a:off x="195034" y="240330"/>
            <a:ext cx="10835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b="1" dirty="0"/>
              <a:t>戦略（訪日旅行の現状／市場分析／ターゲット）</a:t>
            </a:r>
          </a:p>
        </p:txBody>
      </p:sp>
      <p:sp>
        <p:nvSpPr>
          <p:cNvPr id="19" name="TextBox 27">
            <a:extLst>
              <a:ext uri="{FF2B5EF4-FFF2-40B4-BE49-F238E27FC236}">
                <a16:creationId xmlns:a16="http://schemas.microsoft.com/office/drawing/2014/main" id="{9FF8FFDC-B386-4F56-99E6-22E416834509}"/>
              </a:ext>
            </a:extLst>
          </p:cNvPr>
          <p:cNvSpPr txBox="1"/>
          <p:nvPr/>
        </p:nvSpPr>
        <p:spPr>
          <a:xfrm>
            <a:off x="195034" y="861483"/>
            <a:ext cx="1336054" cy="1018832"/>
          </a:xfrm>
          <a:prstGeom prst="rect">
            <a:avLst/>
          </a:prstGeom>
          <a:solidFill>
            <a:schemeClr val="bg2"/>
          </a:solidFill>
          <a:ln w="28575">
            <a:solidFill>
              <a:schemeClr val="bg2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訪 日 旅 行 の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現 状</a:t>
            </a:r>
          </a:p>
        </p:txBody>
      </p:sp>
      <p:sp>
        <p:nvSpPr>
          <p:cNvPr id="4" name="TextBox 27">
            <a:extLst>
              <a:ext uri="{FF2B5EF4-FFF2-40B4-BE49-F238E27FC236}">
                <a16:creationId xmlns:a16="http://schemas.microsoft.com/office/drawing/2014/main" id="{61961F70-1065-45CE-9115-4870FE87E19F}"/>
              </a:ext>
            </a:extLst>
          </p:cNvPr>
          <p:cNvSpPr txBox="1"/>
          <p:nvPr/>
        </p:nvSpPr>
        <p:spPr>
          <a:xfrm>
            <a:off x="195034" y="2039803"/>
            <a:ext cx="1336054" cy="2394174"/>
          </a:xfrm>
          <a:prstGeom prst="rect">
            <a:avLst/>
          </a:prstGeom>
          <a:solidFill>
            <a:schemeClr val="bg2"/>
          </a:solidFill>
          <a:ln w="19050">
            <a:solidFill>
              <a:schemeClr val="bg2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市　　場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分　　析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EA93759-7D14-4853-9B5A-C96BC45F1109}"/>
              </a:ext>
            </a:extLst>
          </p:cNvPr>
          <p:cNvSpPr/>
          <p:nvPr/>
        </p:nvSpPr>
        <p:spPr>
          <a:xfrm>
            <a:off x="1658679" y="861483"/>
            <a:ext cx="10338287" cy="101883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endParaRPr lang="en-US" altLang="ja-JP" sz="1300" dirty="0">
              <a:solidFill>
                <a:schemeClr val="tx1"/>
              </a:solidFill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D99E0AE0-151B-48D8-AF3E-4A9A584A13AA}"/>
              </a:ext>
            </a:extLst>
          </p:cNvPr>
          <p:cNvSpPr/>
          <p:nvPr/>
        </p:nvSpPr>
        <p:spPr>
          <a:xfrm>
            <a:off x="1658678" y="2039803"/>
            <a:ext cx="10338288" cy="2394174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ja-JP" sz="1600" b="1" u="sng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endParaRPr lang="en-US" altLang="ja-JP" sz="13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D38F4492-5C71-4186-93FC-088E7F2A10F9}"/>
              </a:ext>
            </a:extLst>
          </p:cNvPr>
          <p:cNvSpPr txBox="1"/>
          <p:nvPr/>
        </p:nvSpPr>
        <p:spPr>
          <a:xfrm>
            <a:off x="8198599" y="255718"/>
            <a:ext cx="38523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dirty="0"/>
              <a:t>ターゲットは例にこだわらず自由に設定してください。</a:t>
            </a:r>
          </a:p>
        </p:txBody>
      </p:sp>
      <p:sp>
        <p:nvSpPr>
          <p:cNvPr id="8" name="TextBox 27">
            <a:extLst>
              <a:ext uri="{FF2B5EF4-FFF2-40B4-BE49-F238E27FC236}">
                <a16:creationId xmlns:a16="http://schemas.microsoft.com/office/drawing/2014/main" id="{61961F70-1065-45CE-9115-4870FE87E19F}"/>
              </a:ext>
            </a:extLst>
          </p:cNvPr>
          <p:cNvSpPr txBox="1"/>
          <p:nvPr/>
        </p:nvSpPr>
        <p:spPr>
          <a:xfrm>
            <a:off x="195034" y="4593466"/>
            <a:ext cx="1336054" cy="2178270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ターゲット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DEA93759-7D14-4853-9B5A-C96BC45F1109}"/>
              </a:ext>
            </a:extLst>
          </p:cNvPr>
          <p:cNvSpPr/>
          <p:nvPr/>
        </p:nvSpPr>
        <p:spPr>
          <a:xfrm>
            <a:off x="1658679" y="4593465"/>
            <a:ext cx="10338287" cy="2178270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+mj-lt"/>
              <a:buAutoNum type="arabicPeriod"/>
            </a:pPr>
            <a:endParaRPr lang="en-US" altLang="ja-JP" sz="13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1" name="タイトル 1"/>
          <p:cNvSpPr>
            <a:spLocks noGrp="1"/>
          </p:cNvSpPr>
          <p:nvPr>
            <p:ph type="title"/>
          </p:nvPr>
        </p:nvSpPr>
        <p:spPr>
          <a:xfrm>
            <a:off x="1658679" y="4593465"/>
            <a:ext cx="10338288" cy="340844"/>
          </a:xfrm>
        </p:spPr>
        <p:txBody>
          <a:bodyPr anchor="t">
            <a:noAutofit/>
          </a:bodyPr>
          <a:lstStyle/>
          <a:p>
            <a:r>
              <a:rPr kumimoji="1" lang="en-US" altLang="ja-JP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〈</a:t>
            </a:r>
            <a:r>
              <a:rPr kumimoji="1" lang="ja-JP" altLang="en-US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例</a:t>
            </a:r>
            <a:r>
              <a:rPr kumimoji="1" lang="en-US" altLang="ja-JP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〉</a:t>
            </a:r>
            <a:br>
              <a:rPr kumimoji="1" lang="en-US" altLang="ja-JP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年齢・形態</a:t>
            </a:r>
            <a:r>
              <a:rPr lang="ja-JP" altLang="en-US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：</a:t>
            </a:r>
            <a:r>
              <a:rPr lang="en-US" altLang="ja-JP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50</a:t>
            </a:r>
            <a:r>
              <a:rPr lang="ja-JP" altLang="en-US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代夫婦  </a:t>
            </a:r>
            <a:br>
              <a:rPr lang="en-US" altLang="ja-JP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関心ｺﾝﾃﾝﾂ：文化体験、日本食</a:t>
            </a:r>
            <a:br>
              <a:rPr kumimoji="1" lang="en-US" altLang="ja-JP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予約方法　：旅行会社</a:t>
            </a:r>
            <a:br>
              <a:rPr kumimoji="1" lang="en-US" altLang="ja-JP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接触ﾒﾃﾞｨｱ ：旅行雑誌</a:t>
            </a:r>
            <a:br>
              <a:rPr kumimoji="1" lang="en-US" altLang="ja-JP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</a:br>
            <a:r>
              <a:rPr kumimoji="1" lang="ja-JP" altLang="en-US" sz="1800" b="1" dirty="0">
                <a:solidFill>
                  <a:schemeClr val="bg1">
                    <a:lumMod val="65000"/>
                  </a:schemeClr>
                </a:solidFill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　</a:t>
            </a:r>
            <a:r>
              <a:rPr kumimoji="1" lang="ja-JP" altLang="en-US" sz="1800" b="1" dirty="0"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　　　　　　　　　　　　　　　　　　　　　　　　　　　　　　</a:t>
            </a:r>
          </a:p>
        </p:txBody>
      </p:sp>
    </p:spTree>
    <p:extLst>
      <p:ext uri="{BB962C8B-B14F-4D97-AF65-F5344CB8AC3E}">
        <p14:creationId xmlns:p14="http://schemas.microsoft.com/office/powerpoint/2010/main" val="24667039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F1F48DB-F8F6-4F58-B4F2-6A46ED918B50}"/>
              </a:ext>
            </a:extLst>
          </p:cNvPr>
          <p:cNvSpPr txBox="1"/>
          <p:nvPr/>
        </p:nvSpPr>
        <p:spPr>
          <a:xfrm>
            <a:off x="195034" y="240330"/>
            <a:ext cx="108354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b="1" dirty="0"/>
              <a:t>戦略（強み／</a:t>
            </a:r>
            <a:r>
              <a:rPr lang="ja-JP" altLang="en-US" sz="2400" b="1" dirty="0"/>
              <a:t>課題</a:t>
            </a:r>
            <a:r>
              <a:rPr kumimoji="1" lang="ja-JP" altLang="en-US" sz="2400" b="1" dirty="0"/>
              <a:t>／課題解決のための方針）</a:t>
            </a:r>
          </a:p>
        </p:txBody>
      </p:sp>
      <p:sp>
        <p:nvSpPr>
          <p:cNvPr id="19" name="TextBox 27">
            <a:extLst>
              <a:ext uri="{FF2B5EF4-FFF2-40B4-BE49-F238E27FC236}">
                <a16:creationId xmlns:a16="http://schemas.microsoft.com/office/drawing/2014/main" id="{9FF8FFDC-B386-4F56-99E6-22E416834509}"/>
              </a:ext>
            </a:extLst>
          </p:cNvPr>
          <p:cNvSpPr txBox="1"/>
          <p:nvPr/>
        </p:nvSpPr>
        <p:spPr>
          <a:xfrm>
            <a:off x="195034" y="2638875"/>
            <a:ext cx="1336054" cy="1360722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大分県の課題</a:t>
            </a:r>
          </a:p>
        </p:txBody>
      </p:sp>
      <p:sp>
        <p:nvSpPr>
          <p:cNvPr id="4" name="TextBox 27">
            <a:extLst>
              <a:ext uri="{FF2B5EF4-FFF2-40B4-BE49-F238E27FC236}">
                <a16:creationId xmlns:a16="http://schemas.microsoft.com/office/drawing/2014/main" id="{61961F70-1065-45CE-9115-4870FE87E19F}"/>
              </a:ext>
            </a:extLst>
          </p:cNvPr>
          <p:cNvSpPr txBox="1"/>
          <p:nvPr/>
        </p:nvSpPr>
        <p:spPr>
          <a:xfrm>
            <a:off x="195034" y="4219120"/>
            <a:ext cx="1336054" cy="2457726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課題解決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のための</a:t>
            </a:r>
            <a:endParaRPr lang="en-US" altLang="ja-JP" sz="14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方　　針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DEA93759-7D14-4853-9B5A-C96BC45F1109}"/>
              </a:ext>
            </a:extLst>
          </p:cNvPr>
          <p:cNvSpPr/>
          <p:nvPr/>
        </p:nvSpPr>
        <p:spPr>
          <a:xfrm>
            <a:off x="1658679" y="2638875"/>
            <a:ext cx="10338287" cy="136072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+mj-lt"/>
              <a:buAutoNum type="arabicPeriod"/>
            </a:pPr>
            <a:endParaRPr lang="en-US" altLang="ja-JP" sz="13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D99E0AE0-151B-48D8-AF3E-4A9A584A13AA}"/>
              </a:ext>
            </a:extLst>
          </p:cNvPr>
          <p:cNvSpPr/>
          <p:nvPr/>
        </p:nvSpPr>
        <p:spPr>
          <a:xfrm>
            <a:off x="1658679" y="4219120"/>
            <a:ext cx="10338287" cy="245772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+mj-lt"/>
              <a:buAutoNum type="arabicPeriod"/>
            </a:pPr>
            <a:endParaRPr lang="ja-JP" altLang="en-US" sz="14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9EDF3DC-BDBC-6D7A-DCE1-D7BB8EED1769}"/>
              </a:ext>
            </a:extLst>
          </p:cNvPr>
          <p:cNvSpPr txBox="1"/>
          <p:nvPr/>
        </p:nvSpPr>
        <p:spPr>
          <a:xfrm>
            <a:off x="8198599" y="255718"/>
            <a:ext cx="286488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u="sng" dirty="0"/>
              <a:t>行幅</a:t>
            </a:r>
            <a:r>
              <a:rPr kumimoji="1" lang="ja-JP" altLang="en-US" sz="1100" dirty="0"/>
              <a:t>は文量に応じて変えて構いません。</a:t>
            </a:r>
          </a:p>
        </p:txBody>
      </p:sp>
      <p:sp>
        <p:nvSpPr>
          <p:cNvPr id="11" name="TextBox 27">
            <a:extLst>
              <a:ext uri="{FF2B5EF4-FFF2-40B4-BE49-F238E27FC236}">
                <a16:creationId xmlns:a16="http://schemas.microsoft.com/office/drawing/2014/main" id="{9FF8FFDC-B386-4F56-99E6-22E416834509}"/>
              </a:ext>
            </a:extLst>
          </p:cNvPr>
          <p:cNvSpPr txBox="1"/>
          <p:nvPr/>
        </p:nvSpPr>
        <p:spPr>
          <a:xfrm>
            <a:off x="195034" y="1058630"/>
            <a:ext cx="1336054" cy="1360722"/>
          </a:xfrm>
          <a:prstGeom prst="rect">
            <a:avLst/>
          </a:prstGeom>
          <a:solidFill>
            <a:schemeClr val="bg2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ja-JP" altLang="en-US" sz="14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大分県の強み</a:t>
            </a: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DEA93759-7D14-4853-9B5A-C96BC45F1109}"/>
              </a:ext>
            </a:extLst>
          </p:cNvPr>
          <p:cNvSpPr/>
          <p:nvPr/>
        </p:nvSpPr>
        <p:spPr>
          <a:xfrm>
            <a:off x="1658679" y="1058630"/>
            <a:ext cx="10338287" cy="136072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indent="-228600" algn="l">
              <a:buFont typeface="+mj-lt"/>
              <a:buAutoNum type="arabicPeriod"/>
            </a:pPr>
            <a:endParaRPr lang="en-US" altLang="ja-JP" sz="13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721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148A3C2C-1521-4C82-8E18-2A08D6E3CBE9}"/>
              </a:ext>
            </a:extLst>
          </p:cNvPr>
          <p:cNvSpPr/>
          <p:nvPr/>
        </p:nvSpPr>
        <p:spPr>
          <a:xfrm>
            <a:off x="2796363" y="1502759"/>
            <a:ext cx="9232317" cy="195523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 altLang="ja-JP" sz="12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F1F48DB-F8F6-4F58-B4F2-6A46ED918B50}"/>
              </a:ext>
            </a:extLst>
          </p:cNvPr>
          <p:cNvSpPr txBox="1"/>
          <p:nvPr/>
        </p:nvSpPr>
        <p:spPr>
          <a:xfrm>
            <a:off x="99341" y="170439"/>
            <a:ext cx="75778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2400" b="1" dirty="0"/>
              <a:t>戦略（各年度における具体的戦略方針）</a:t>
            </a:r>
          </a:p>
        </p:txBody>
      </p:sp>
      <p:sp>
        <p:nvSpPr>
          <p:cNvPr id="12" name="TextBox 27">
            <a:extLst>
              <a:ext uri="{FF2B5EF4-FFF2-40B4-BE49-F238E27FC236}">
                <a16:creationId xmlns:a16="http://schemas.microsoft.com/office/drawing/2014/main" id="{F611EEDA-C79B-4674-AD82-B47FDA1DBBEF}"/>
              </a:ext>
            </a:extLst>
          </p:cNvPr>
          <p:cNvSpPr txBox="1"/>
          <p:nvPr/>
        </p:nvSpPr>
        <p:spPr>
          <a:xfrm>
            <a:off x="99340" y="1502759"/>
            <a:ext cx="2484370" cy="19552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altLang="ja-JP" sz="15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2024</a:t>
            </a:r>
            <a:endParaRPr lang="ja-JP" altLang="en-US" sz="15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3" name="TextBox 16">
            <a:extLst>
              <a:ext uri="{FF2B5EF4-FFF2-40B4-BE49-F238E27FC236}">
                <a16:creationId xmlns:a16="http://schemas.microsoft.com/office/drawing/2014/main" id="{E084F30B-FE45-4B57-816F-44166B95C986}"/>
              </a:ext>
            </a:extLst>
          </p:cNvPr>
          <p:cNvSpPr txBox="1"/>
          <p:nvPr/>
        </p:nvSpPr>
        <p:spPr>
          <a:xfrm>
            <a:off x="99340" y="3677234"/>
            <a:ext cx="2484371" cy="1434208"/>
          </a:xfrm>
          <a:prstGeom prst="rect">
            <a:avLst/>
          </a:prstGeom>
          <a:solidFill>
            <a:srgbClr val="FFFF00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altLang="ja-JP" sz="15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2025</a:t>
            </a:r>
            <a:endParaRPr lang="ja-JP" altLang="en-US" sz="15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4" name="TextBox 19">
            <a:extLst>
              <a:ext uri="{FF2B5EF4-FFF2-40B4-BE49-F238E27FC236}">
                <a16:creationId xmlns:a16="http://schemas.microsoft.com/office/drawing/2014/main" id="{58607045-0DB0-44CF-B9C6-39BE21D0147D}"/>
              </a:ext>
            </a:extLst>
          </p:cNvPr>
          <p:cNvSpPr txBox="1"/>
          <p:nvPr/>
        </p:nvSpPr>
        <p:spPr>
          <a:xfrm>
            <a:off x="99340" y="5313435"/>
            <a:ext cx="2484371" cy="1434208"/>
          </a:xfrm>
          <a:prstGeom prst="rect">
            <a:avLst/>
          </a:prstGeom>
          <a:solidFill>
            <a:srgbClr val="92D050"/>
          </a:solidFill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altLang="ja-JP" sz="1500" b="1" dirty="0">
                <a:latin typeface="HGSｺﾞｼｯｸM" panose="020B0600000000000000" pitchFamily="50" charset="-128"/>
                <a:ea typeface="HGSｺﾞｼｯｸM" panose="020B0600000000000000" pitchFamily="50" charset="-128"/>
                <a:cs typeface="Calibri" panose="020F0502020204030204" pitchFamily="34" charset="0"/>
              </a:rPr>
              <a:t>2026</a:t>
            </a:r>
            <a:endParaRPr lang="ja-JP" altLang="en-US" sz="1500" b="1" dirty="0"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C8A19F9C-A119-4B7F-B62F-EFC792BB7BB9}"/>
              </a:ext>
            </a:extLst>
          </p:cNvPr>
          <p:cNvSpPr/>
          <p:nvPr/>
        </p:nvSpPr>
        <p:spPr>
          <a:xfrm>
            <a:off x="2796362" y="3677234"/>
            <a:ext cx="9232317" cy="143420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ja-JP" sz="12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ABF47510-EB67-4265-9A21-1BBA8E3C53A7}"/>
              </a:ext>
            </a:extLst>
          </p:cNvPr>
          <p:cNvSpPr/>
          <p:nvPr/>
        </p:nvSpPr>
        <p:spPr>
          <a:xfrm>
            <a:off x="2796362" y="5313435"/>
            <a:ext cx="9232317" cy="143420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altLang="ja-JP" sz="1200" dirty="0">
              <a:solidFill>
                <a:schemeClr val="tx1"/>
              </a:solidFill>
              <a:latin typeface="HGSｺﾞｼｯｸM" panose="020B0600000000000000" pitchFamily="50" charset="-128"/>
              <a:ea typeface="HGSｺﾞｼｯｸM" panose="020B0600000000000000" pitchFamily="50" charset="-128"/>
              <a:cs typeface="Calibri" panose="020F0502020204030204" pitchFamily="34" charset="0"/>
            </a:endParaRP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8904B884-8460-531A-AF43-E0B95C3832AF}"/>
              </a:ext>
            </a:extLst>
          </p:cNvPr>
          <p:cNvSpPr txBox="1"/>
          <p:nvPr/>
        </p:nvSpPr>
        <p:spPr>
          <a:xfrm>
            <a:off x="8198599" y="201217"/>
            <a:ext cx="3993401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dirty="0"/>
              <a:t>見出しのレイアウトは、各事業者様の様式で構いません。</a:t>
            </a:r>
            <a:endParaRPr kumimoji="1" lang="en-US" altLang="ja-JP" sz="1100" dirty="0"/>
          </a:p>
          <a:p>
            <a:r>
              <a:rPr kumimoji="1" lang="en-US" altLang="ja-JP" sz="1100" dirty="0"/>
              <a:t>※</a:t>
            </a:r>
            <a:r>
              <a:rPr kumimoji="1" lang="ja-JP" altLang="en-US" sz="1100" u="sng" dirty="0"/>
              <a:t>行幅</a:t>
            </a:r>
            <a:r>
              <a:rPr kumimoji="1" lang="ja-JP" altLang="en-US" sz="1100" dirty="0"/>
              <a:t>は文量に応じて変えて構いません。</a:t>
            </a:r>
          </a:p>
        </p:txBody>
      </p:sp>
      <p:cxnSp>
        <p:nvCxnSpPr>
          <p:cNvPr id="4" name="直線コネクタ 3"/>
          <p:cNvCxnSpPr>
            <a:stCxn id="6" idx="0"/>
            <a:endCxn id="6" idx="2"/>
          </p:cNvCxnSpPr>
          <p:nvPr/>
        </p:nvCxnSpPr>
        <p:spPr>
          <a:xfrm>
            <a:off x="7412522" y="1502759"/>
            <a:ext cx="0" cy="1955232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線コネクタ 21"/>
          <p:cNvCxnSpPr>
            <a:stCxn id="19" idx="0"/>
          </p:cNvCxnSpPr>
          <p:nvPr/>
        </p:nvCxnSpPr>
        <p:spPr>
          <a:xfrm>
            <a:off x="7412521" y="3677234"/>
            <a:ext cx="3538" cy="143420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線コネクタ 22"/>
          <p:cNvCxnSpPr>
            <a:stCxn id="20" idx="0"/>
          </p:cNvCxnSpPr>
          <p:nvPr/>
        </p:nvCxnSpPr>
        <p:spPr>
          <a:xfrm>
            <a:off x="7412521" y="5313435"/>
            <a:ext cx="0" cy="1434208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タイトル 1"/>
          <p:cNvSpPr>
            <a:spLocks noGrp="1"/>
          </p:cNvSpPr>
          <p:nvPr>
            <p:ph type="title"/>
          </p:nvPr>
        </p:nvSpPr>
        <p:spPr>
          <a:xfrm>
            <a:off x="2796362" y="975946"/>
            <a:ext cx="4616159" cy="526812"/>
          </a:xfrm>
        </p:spPr>
        <p:txBody>
          <a:bodyPr>
            <a:noAutofit/>
          </a:bodyPr>
          <a:lstStyle/>
          <a:p>
            <a:pPr algn="ctr"/>
            <a:r>
              <a:rPr kumimoji="1" lang="en-US" altLang="ja-JP" sz="1800" b="1" dirty="0"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〈B to B〉</a:t>
            </a:r>
            <a:endParaRPr kumimoji="1" lang="ja-JP" altLang="en-US" sz="1800" b="1" dirty="0">
              <a:latin typeface="HGSｺﾞｼｯｸM" panose="020B0600000000000000" pitchFamily="50" charset="-128"/>
              <a:ea typeface="HGSｺﾞｼｯｸM" panose="020B0600000000000000" pitchFamily="50" charset="-128"/>
            </a:endParaRPr>
          </a:p>
        </p:txBody>
      </p:sp>
      <p:sp>
        <p:nvSpPr>
          <p:cNvPr id="25" name="タイトル 1"/>
          <p:cNvSpPr txBox="1">
            <a:spLocks/>
          </p:cNvSpPr>
          <p:nvPr/>
        </p:nvSpPr>
        <p:spPr>
          <a:xfrm>
            <a:off x="7412520" y="973084"/>
            <a:ext cx="4616159" cy="5268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altLang="ja-JP" sz="1800" b="1" dirty="0">
                <a:latin typeface="HGSｺﾞｼｯｸM" panose="020B0600000000000000" pitchFamily="50" charset="-128"/>
                <a:ea typeface="HGSｺﾞｼｯｸM" panose="020B0600000000000000" pitchFamily="50" charset="-128"/>
              </a:rPr>
              <a:t>〈B to C〉</a:t>
            </a:r>
            <a:endParaRPr lang="ja-JP" altLang="en-US" sz="1800" b="1" dirty="0">
              <a:latin typeface="HGSｺﾞｼｯｸM" panose="020B0600000000000000" pitchFamily="50" charset="-128"/>
              <a:ea typeface="HGSｺﾞｼｯｸM" panose="020B0600000000000000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298493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44" imgH="446" progId="TCLayout.ActiveDocument.1">
                  <p:embed/>
                </p:oleObj>
              </mc:Choice>
              <mc:Fallback>
                <p:oleObj name="think-cell スライド" r:id="rId4" imgW="444" imgH="44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10" name="表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5677384"/>
              </p:ext>
            </p:extLst>
          </p:nvPr>
        </p:nvGraphicFramePr>
        <p:xfrm>
          <a:off x="980795" y="987568"/>
          <a:ext cx="10230410" cy="464839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285722">
                  <a:extLst>
                    <a:ext uri="{9D8B030D-6E8A-4147-A177-3AD203B41FA5}">
                      <a16:colId xmlns:a16="http://schemas.microsoft.com/office/drawing/2014/main" val="2570033877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3921231576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855251644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1636069312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586568114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514382735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3547164174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3751640756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111206437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216410481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3927804605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289521977"/>
                    </a:ext>
                  </a:extLst>
                </a:gridCol>
                <a:gridCol w="578724">
                  <a:extLst>
                    <a:ext uri="{9D8B030D-6E8A-4147-A177-3AD203B41FA5}">
                      <a16:colId xmlns:a16="http://schemas.microsoft.com/office/drawing/2014/main" val="97243001"/>
                    </a:ext>
                  </a:extLst>
                </a:gridCol>
              </a:tblGrid>
              <a:tr h="38778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</a:rPr>
                        <a:t>項　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4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5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6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7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8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9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10</a:t>
                      </a:r>
                      <a:r>
                        <a:rPr kumimoji="1" lang="ja-JP" altLang="en-US" sz="10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11</a:t>
                      </a:r>
                      <a:r>
                        <a:rPr kumimoji="1" lang="ja-JP" altLang="en-US" sz="10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12</a:t>
                      </a:r>
                      <a:r>
                        <a:rPr kumimoji="1" lang="ja-JP" altLang="en-US" sz="10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0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1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2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3</a:t>
                      </a:r>
                      <a:r>
                        <a:rPr kumimoji="1" lang="ja-JP" altLang="en-US" sz="1100" b="1" kern="1200" dirty="0">
                          <a:solidFill>
                            <a:sysClr val="windowText" lastClr="000000"/>
                          </a:solidFill>
                          <a:latin typeface="+mn-ea"/>
                          <a:ea typeface="+mn-ea"/>
                          <a:cs typeface="+mn-cs"/>
                        </a:rPr>
                        <a:t>月</a:t>
                      </a:r>
                      <a:endParaRPr kumimoji="1" lang="en-US" altLang="ja-JP" sz="1100" b="1" kern="1200" dirty="0">
                        <a:solidFill>
                          <a:sysClr val="windowText" lastClr="000000"/>
                        </a:solidFill>
                        <a:latin typeface="+mn-ea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638645"/>
                  </a:ext>
                </a:extLst>
              </a:tr>
              <a:tr h="310574">
                <a:tc gridSpan="13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b="1" dirty="0">
                          <a:latin typeface="HGSｺﾞｼｯｸM" panose="020B0600000000000000" pitchFamily="50" charset="-128"/>
                          <a:ea typeface="HGSｺﾞｼｯｸM" panose="020B0600000000000000" pitchFamily="50" charset="-128"/>
                          <a:cs typeface="Poppins Medium" pitchFamily="2" charset="77"/>
                        </a:rPr>
                        <a:t> </a:t>
                      </a:r>
                      <a:r>
                        <a:rPr lang="ja-JP" altLang="en-US" sz="1200" b="1" dirty="0">
                          <a:latin typeface="+mn-ea"/>
                          <a:ea typeface="+mn-ea"/>
                          <a:cs typeface="Poppins Medium" pitchFamily="2" charset="77"/>
                        </a:rPr>
                        <a:t>（１）戦略構築・現地調査、（３）</a:t>
                      </a:r>
                      <a:r>
                        <a:rPr lang="en-US" altLang="ja-JP" sz="1200" b="1" dirty="0">
                          <a:latin typeface="+mn-ea"/>
                          <a:ea typeface="+mn-ea"/>
                          <a:cs typeface="Poppins Medium" pitchFamily="2" charset="77"/>
                        </a:rPr>
                        <a:t>MTG</a:t>
                      </a:r>
                      <a:r>
                        <a:rPr lang="ja-JP" altLang="en-US" sz="1200" b="1" dirty="0">
                          <a:latin typeface="+mn-ea"/>
                          <a:ea typeface="+mn-ea"/>
                          <a:cs typeface="Poppins Medium" pitchFamily="2" charset="77"/>
                        </a:rPr>
                        <a:t>、（４）報告業務</a:t>
                      </a:r>
                      <a:endParaRPr lang="en-US" altLang="ja-JP" sz="1200" b="1" dirty="0">
                        <a:latin typeface="+mn-ea"/>
                        <a:ea typeface="+mn-ea"/>
                        <a:cs typeface="Poppins Medium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dk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5001529"/>
                  </a:ext>
                </a:extLst>
              </a:tr>
              <a:tr h="34189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★</a:t>
                      </a: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戦略</a:t>
                      </a:r>
                      <a:r>
                        <a:rPr kumimoji="1" lang="en-US" altLang="ja-JP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/</a:t>
                      </a: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年間計画作成</a:t>
                      </a:r>
                      <a:endParaRPr kumimoji="1" lang="en-US" altLang="ja-JP" sz="1050" baseline="0" dirty="0">
                        <a:solidFill>
                          <a:schemeClr val="dk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200" i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1058470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★</a:t>
                      </a:r>
                      <a:r>
                        <a:rPr lang="ja-JP" altLang="en-US" sz="105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誘客強化</a:t>
                      </a:r>
                      <a:endParaRPr kumimoji="1" lang="en-US" altLang="ja-JP" sz="1050" b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200" i="1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1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7879827"/>
                  </a:ext>
                </a:extLst>
              </a:tr>
              <a:tr h="304800">
                <a:tc>
                  <a:txBody>
                    <a:bodyPr/>
                    <a:lstStyle/>
                    <a:p>
                      <a:pPr algn="l"/>
                      <a:r>
                        <a:rPr lang="ja-JP" altLang="en-US" sz="105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★</a:t>
                      </a:r>
                      <a:r>
                        <a:rPr lang="ja-JP" altLang="en-US" sz="105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アドバイス・サポート</a:t>
                      </a:r>
                      <a:endParaRPr kumimoji="1" lang="en-US" altLang="ja-JP" sz="1050" b="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4016299"/>
                  </a:ext>
                </a:extLst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050" b="1" dirty="0">
                          <a:solidFill>
                            <a:srgbClr val="FF0000"/>
                          </a:solidFill>
                          <a:latin typeface="+mn-ea"/>
                          <a:ea typeface="+mn-ea"/>
                          <a:cs typeface="Calibri" panose="020F0502020204030204" pitchFamily="34" charset="0"/>
                        </a:rPr>
                        <a:t>★</a:t>
                      </a: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報告書作成、月次ミーティング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3545135"/>
                  </a:ext>
                </a:extLst>
              </a:tr>
              <a:tr h="420109">
                <a:tc gridSpan="13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1" dirty="0">
                          <a:latin typeface="HGSｺﾞｼｯｸM" panose="020B0600000000000000" pitchFamily="50" charset="-128"/>
                          <a:ea typeface="HGSｺﾞｼｯｸM" panose="020B0600000000000000" pitchFamily="50" charset="-128"/>
                          <a:cs typeface="Poppins Medium" pitchFamily="2" charset="77"/>
                        </a:rPr>
                        <a:t>（２）</a:t>
                      </a:r>
                      <a:r>
                        <a:rPr lang="en-US" altLang="ja-JP" sz="1200" b="1" dirty="0">
                          <a:latin typeface="HGSｺﾞｼｯｸM" panose="020B0600000000000000" pitchFamily="50" charset="-128"/>
                          <a:ea typeface="HGSｺﾞｼｯｸM" panose="020B0600000000000000" pitchFamily="50" charset="-128"/>
                          <a:cs typeface="Poppins Medium" pitchFamily="2" charset="77"/>
                        </a:rPr>
                        <a:t>2024</a:t>
                      </a:r>
                      <a:r>
                        <a:rPr lang="ja-JP" altLang="en-US" sz="1200" b="1" dirty="0">
                          <a:latin typeface="HGSｺﾞｼｯｸM" panose="020B0600000000000000" pitchFamily="50" charset="-128"/>
                          <a:ea typeface="HGSｺﾞｼｯｸM" panose="020B0600000000000000" pitchFamily="50" charset="-128"/>
                          <a:cs typeface="Poppins Medium" pitchFamily="2" charset="77"/>
                        </a:rPr>
                        <a:t>年度（令和６年度）の具体的な事業の実施</a:t>
                      </a:r>
                      <a:endParaRPr lang="en-US" altLang="ja-JP" sz="1200" b="1" dirty="0">
                        <a:latin typeface="HGSｺﾞｼｯｸM" panose="020B0600000000000000" pitchFamily="50" charset="-128"/>
                        <a:ea typeface="HGSｺﾞｼｯｸM" panose="020B0600000000000000" pitchFamily="50" charset="-128"/>
                        <a:cs typeface="Poppins Medium" pitchFamily="2" charset="77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159330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Ａ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492257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Ｂ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5651150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Ｃ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3792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Ｄ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87649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Ｅ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2276043"/>
                  </a:ext>
                </a:extLst>
              </a:tr>
              <a:tr h="38211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baseline="0" dirty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Ｆ事業</a:t>
                      </a:r>
                      <a:endParaRPr kumimoji="1" lang="ja-JP" altLang="en-US" sz="1050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200" kern="1200" dirty="0">
                        <a:solidFill>
                          <a:schemeClr val="tx1"/>
                        </a:solidFill>
                        <a:latin typeface="游ゴシック" panose="020B0400000000000000" pitchFamily="50" charset="-128"/>
                        <a:ea typeface="游ゴシック" panose="020B0400000000000000" pitchFamily="50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0500696"/>
                  </a:ext>
                </a:extLst>
              </a:tr>
            </a:tbl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600" dirty="0">
              <a:latin typeface="Calibri" panose="020F0502020204030204" pitchFamily="34" charset="0"/>
              <a:ea typeface="ＭＳ Ｐゴシック" panose="020B0600070205080204" pitchFamily="50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スライド番号プレースホルダー 8">
            <a:extLst>
              <a:ext uri="{FF2B5EF4-FFF2-40B4-BE49-F238E27FC236}">
                <a16:creationId xmlns:a16="http://schemas.microsoft.com/office/drawing/2014/main" id="{B8D02C76-2DFF-4A61-AC95-741B45820292}"/>
              </a:ext>
            </a:extLst>
          </p:cNvPr>
          <p:cNvSpPr txBox="1">
            <a:spLocks/>
          </p:cNvSpPr>
          <p:nvPr/>
        </p:nvSpPr>
        <p:spPr>
          <a:xfrm>
            <a:off x="8459264" y="655186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defRPr/>
            </a:pPr>
            <a:fld id="{EC60DB97-6334-4190-AAA9-552013741C1A}" type="slidenum">
              <a:rPr lang="ja-JP" altLang="en-US" sz="1200">
                <a:solidFill>
                  <a:prstClr val="black">
                    <a:tint val="75000"/>
                  </a:prstClr>
                </a:solidFill>
                <a:latin typeface="Calibri"/>
                <a:ea typeface="ＭＳ Ｐゴシック" panose="020B0600070205080204" pitchFamily="50" charset="-128"/>
              </a:rPr>
              <a:pPr defTabSz="457200">
                <a:defRPr/>
              </a:pPr>
              <a:t>4</a:t>
            </a:fld>
            <a:endParaRPr lang="ja-JP" altLang="en-US" sz="1200" dirty="0">
              <a:solidFill>
                <a:prstClr val="black">
                  <a:tint val="75000"/>
                </a:prstClr>
              </a:solidFill>
              <a:latin typeface="Calibri"/>
              <a:ea typeface="ＭＳ Ｐゴシック" panose="020B0600070205080204" pitchFamily="50" charset="-128"/>
            </a:endParaRPr>
          </a:p>
        </p:txBody>
      </p:sp>
      <p:sp>
        <p:nvSpPr>
          <p:cNvPr id="284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6788067" y="1773329"/>
            <a:ext cx="2262721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情勢の変化などにより適宜見直し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35" name="Straight Arrow Connector 100"/>
          <p:cNvCxnSpPr>
            <a:cxnSpLocks/>
          </p:cNvCxnSpPr>
          <p:nvPr/>
        </p:nvCxnSpPr>
        <p:spPr>
          <a:xfrm>
            <a:off x="5470057" y="2314119"/>
            <a:ext cx="5708851" cy="8291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100"/>
          <p:cNvCxnSpPr>
            <a:cxnSpLocks/>
          </p:cNvCxnSpPr>
          <p:nvPr/>
        </p:nvCxnSpPr>
        <p:spPr>
          <a:xfrm flipV="1">
            <a:off x="5470057" y="2029144"/>
            <a:ext cx="514645" cy="5343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100"/>
          <p:cNvCxnSpPr>
            <a:cxnSpLocks/>
          </p:cNvCxnSpPr>
          <p:nvPr/>
        </p:nvCxnSpPr>
        <p:spPr>
          <a:xfrm>
            <a:off x="6661230" y="4346469"/>
            <a:ext cx="572596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9" name="Straight Arrow Connector 100"/>
          <p:cNvCxnSpPr>
            <a:cxnSpLocks/>
          </p:cNvCxnSpPr>
          <p:nvPr/>
        </p:nvCxnSpPr>
        <p:spPr>
          <a:xfrm>
            <a:off x="5459837" y="4346469"/>
            <a:ext cx="1133687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5327825" y="4059041"/>
            <a:ext cx="1432938" cy="2163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協議</a:t>
            </a:r>
            <a:endParaRPr sz="105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72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6322938" y="4059041"/>
            <a:ext cx="933152" cy="2163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実施</a:t>
            </a:r>
            <a:endParaRPr sz="105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73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6902664" y="4059041"/>
            <a:ext cx="933152" cy="2163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報告</a:t>
            </a:r>
            <a:endParaRPr sz="105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99" name="TextBox 83"/>
          <p:cNvSpPr txBox="1"/>
          <p:nvPr/>
        </p:nvSpPr>
        <p:spPr>
          <a:xfrm>
            <a:off x="7233826" y="4203937"/>
            <a:ext cx="27271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dirty="0">
                <a:latin typeface="+mn-ea"/>
              </a:rPr>
              <a:t>•</a:t>
            </a:r>
            <a:endParaRPr lang="ja-JP" altLang="en-US" sz="1500" dirty="0">
              <a:latin typeface="+mn-ea"/>
            </a:endParaRPr>
          </a:p>
        </p:txBody>
      </p:sp>
      <p:sp>
        <p:nvSpPr>
          <p:cNvPr id="105" name="Shape 21036">
            <a:extLst>
              <a:ext uri="{FF2B5EF4-FFF2-40B4-BE49-F238E27FC236}">
                <a16:creationId xmlns:a16="http://schemas.microsoft.com/office/drawing/2014/main" id="{53E8B946-8924-D440-996C-B8CBA30CB177}"/>
              </a:ext>
            </a:extLst>
          </p:cNvPr>
          <p:cNvSpPr/>
          <p:nvPr/>
        </p:nvSpPr>
        <p:spPr>
          <a:xfrm>
            <a:off x="5203881" y="1773329"/>
            <a:ext cx="933221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初回提出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54" name="正方形/長方形 53"/>
          <p:cNvSpPr/>
          <p:nvPr/>
        </p:nvSpPr>
        <p:spPr>
          <a:xfrm>
            <a:off x="262995" y="189351"/>
            <a:ext cx="102304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sz="2400" b="1" dirty="0">
                <a:solidFill>
                  <a:srgbClr val="000000"/>
                </a:solidFill>
                <a:ea typeface="HGSｺﾞｼｯｸM" panose="020B0600000000000000" pitchFamily="50" charset="-128"/>
                <a:cs typeface="ＭＳ Ｐゴシック" panose="020B0600070205080204" pitchFamily="50" charset="-128"/>
              </a:rPr>
              <a:t>2024</a:t>
            </a:r>
            <a:r>
              <a:rPr lang="ja-JP" altLang="en-US" sz="2400" b="1" dirty="0">
                <a:solidFill>
                  <a:srgbClr val="000000"/>
                </a:solidFill>
                <a:ea typeface="HGSｺﾞｼｯｸM" panose="020B0600000000000000" pitchFamily="50" charset="-128"/>
                <a:cs typeface="ＭＳ Ｐゴシック" panose="020B0600070205080204" pitchFamily="50" charset="-128"/>
              </a:rPr>
              <a:t>年度年間事業計画と送客イメージ</a:t>
            </a:r>
            <a:endParaRPr lang="ja-JP" altLang="ja-JP" sz="2400" b="1" dirty="0">
              <a:ea typeface="HGSｺﾞｼｯｸM" panose="020B0600000000000000" pitchFamily="50" charset="-128"/>
              <a:cs typeface="ＭＳ Ｐゴシック" panose="020B0600070205080204" pitchFamily="50" charset="-128"/>
            </a:endParaRPr>
          </a:p>
        </p:txBody>
      </p:sp>
      <p:sp>
        <p:nvSpPr>
          <p:cNvPr id="63" name="Shape 21036">
            <a:extLst>
              <a:ext uri="{FF2B5EF4-FFF2-40B4-BE49-F238E27FC236}">
                <a16:creationId xmlns:a16="http://schemas.microsoft.com/office/drawing/2014/main" id="{B638CEA5-4C19-4D5E-A6C2-30AABEF753B6}"/>
              </a:ext>
            </a:extLst>
          </p:cNvPr>
          <p:cNvSpPr/>
          <p:nvPr/>
        </p:nvSpPr>
        <p:spPr>
          <a:xfrm>
            <a:off x="6638250" y="2106490"/>
            <a:ext cx="2262721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毎月の業務として行う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67" name="Straight Arrow Connector 100">
            <a:extLst>
              <a:ext uri="{FF2B5EF4-FFF2-40B4-BE49-F238E27FC236}">
                <a16:creationId xmlns:a16="http://schemas.microsoft.com/office/drawing/2014/main" id="{16C90F33-5710-4DFA-8242-057D4E91FD38}"/>
              </a:ext>
            </a:extLst>
          </p:cNvPr>
          <p:cNvCxnSpPr>
            <a:cxnSpLocks/>
          </p:cNvCxnSpPr>
          <p:nvPr/>
        </p:nvCxnSpPr>
        <p:spPr>
          <a:xfrm>
            <a:off x="5459837" y="2897975"/>
            <a:ext cx="5279748" cy="17709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0" name="Shape 21036">
            <a:extLst>
              <a:ext uri="{FF2B5EF4-FFF2-40B4-BE49-F238E27FC236}">
                <a16:creationId xmlns:a16="http://schemas.microsoft.com/office/drawing/2014/main" id="{7084DD29-E81F-450F-9A25-8FBA7A9ADCE1}"/>
              </a:ext>
            </a:extLst>
          </p:cNvPr>
          <p:cNvSpPr/>
          <p:nvPr/>
        </p:nvSpPr>
        <p:spPr>
          <a:xfrm>
            <a:off x="6637197" y="2690346"/>
            <a:ext cx="3287374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毎月の業務として行う</a:t>
            </a:r>
            <a:r>
              <a:rPr lang="en-US" altLang="ja-JP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/</a:t>
            </a:r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月次報告書は毎月</a:t>
            </a:r>
            <a:r>
              <a:rPr lang="en-US" altLang="ja-JP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10</a:t>
            </a:r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日に提出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13" name="直線矢印コネクタ 12">
            <a:extLst>
              <a:ext uri="{FF2B5EF4-FFF2-40B4-BE49-F238E27FC236}">
                <a16:creationId xmlns:a16="http://schemas.microsoft.com/office/drawing/2014/main" id="{0EE4BD0B-E89D-41EE-99EA-860978D31664}"/>
              </a:ext>
            </a:extLst>
          </p:cNvPr>
          <p:cNvCxnSpPr>
            <a:cxnSpLocks/>
          </p:cNvCxnSpPr>
          <p:nvPr/>
        </p:nvCxnSpPr>
        <p:spPr>
          <a:xfrm flipV="1">
            <a:off x="5459837" y="2623144"/>
            <a:ext cx="5719071" cy="2110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oval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7" name="Shape 21036">
            <a:extLst>
              <a:ext uri="{FF2B5EF4-FFF2-40B4-BE49-F238E27FC236}">
                <a16:creationId xmlns:a16="http://schemas.microsoft.com/office/drawing/2014/main" id="{CF69A6E8-3F1D-44FB-8328-B2A3F0ED1787}"/>
              </a:ext>
            </a:extLst>
          </p:cNvPr>
          <p:cNvSpPr/>
          <p:nvPr/>
        </p:nvSpPr>
        <p:spPr>
          <a:xfrm>
            <a:off x="6624731" y="2401867"/>
            <a:ext cx="2262721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必要な時に適宜行う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78" name="Straight Arrow Connector 100">
            <a:extLst>
              <a:ext uri="{FF2B5EF4-FFF2-40B4-BE49-F238E27FC236}">
                <a16:creationId xmlns:a16="http://schemas.microsoft.com/office/drawing/2014/main" id="{33A90A61-C4CA-48DE-9D7D-D0BB5776A4B7}"/>
              </a:ext>
            </a:extLst>
          </p:cNvPr>
          <p:cNvCxnSpPr>
            <a:cxnSpLocks/>
          </p:cNvCxnSpPr>
          <p:nvPr/>
        </p:nvCxnSpPr>
        <p:spPr>
          <a:xfrm>
            <a:off x="10852576" y="2918398"/>
            <a:ext cx="264845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Shape 21036">
            <a:extLst>
              <a:ext uri="{FF2B5EF4-FFF2-40B4-BE49-F238E27FC236}">
                <a16:creationId xmlns:a16="http://schemas.microsoft.com/office/drawing/2014/main" id="{F63186B8-1CFF-45E7-A32D-7D2A278A47BD}"/>
              </a:ext>
            </a:extLst>
          </p:cNvPr>
          <p:cNvSpPr/>
          <p:nvPr/>
        </p:nvSpPr>
        <p:spPr>
          <a:xfrm>
            <a:off x="10450913" y="2664582"/>
            <a:ext cx="933152" cy="2076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ja-JP" altLang="en-US" sz="100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最終報告</a:t>
            </a:r>
            <a:endParaRPr sz="100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cxnSp>
        <p:nvCxnSpPr>
          <p:cNvPr id="82" name="Straight Arrow Connector 100">
            <a:extLst>
              <a:ext uri="{FF2B5EF4-FFF2-40B4-BE49-F238E27FC236}">
                <a16:creationId xmlns:a16="http://schemas.microsoft.com/office/drawing/2014/main" id="{DED9B580-DA18-472C-A196-C104A10906FD}"/>
              </a:ext>
            </a:extLst>
          </p:cNvPr>
          <p:cNvCxnSpPr>
            <a:cxnSpLocks/>
          </p:cNvCxnSpPr>
          <p:nvPr/>
        </p:nvCxnSpPr>
        <p:spPr>
          <a:xfrm>
            <a:off x="7764230" y="4346469"/>
            <a:ext cx="264845" cy="0"/>
          </a:xfrm>
          <a:prstGeom prst="straightConnector1">
            <a:avLst/>
          </a:prstGeom>
          <a:ln w="12700">
            <a:solidFill>
              <a:schemeClr val="tx1"/>
            </a:solidFill>
            <a:headEnd type="oval"/>
            <a:tailEnd type="triangle" w="med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8" name="Shape 21036">
            <a:extLst>
              <a:ext uri="{FF2B5EF4-FFF2-40B4-BE49-F238E27FC236}">
                <a16:creationId xmlns:a16="http://schemas.microsoft.com/office/drawing/2014/main" id="{0FC4C97A-1419-4A21-A42B-A5C185EFEEBE}"/>
              </a:ext>
            </a:extLst>
          </p:cNvPr>
          <p:cNvSpPr/>
          <p:nvPr/>
        </p:nvSpPr>
        <p:spPr>
          <a:xfrm>
            <a:off x="7471207" y="4059041"/>
            <a:ext cx="933152" cy="21634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34299" tIns="17149" rIns="34299" bIns="17149" numCol="1" anchor="ctr">
            <a:spAutoFit/>
          </a:bodyPr>
          <a:lstStyle>
            <a:lvl1pPr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/>
            <a:r>
              <a:rPr lang="en-US" altLang="ja-JP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A</a:t>
            </a:r>
            <a:r>
              <a:rPr lang="ja-JP" altLang="en-US" sz="1050" dirty="0">
                <a:solidFill>
                  <a:schemeClr val="tx1"/>
                </a:solidFill>
                <a:latin typeface="+mn-ea"/>
                <a:ea typeface="+mn-ea"/>
                <a:cs typeface="Poppins" pitchFamily="2" charset="77"/>
              </a:rPr>
              <a:t>事業清算</a:t>
            </a:r>
            <a:endParaRPr sz="1050" dirty="0">
              <a:solidFill>
                <a:schemeClr val="tx1"/>
              </a:solidFill>
              <a:latin typeface="+mn-ea"/>
              <a:ea typeface="+mn-ea"/>
              <a:cs typeface="Poppins" pitchFamily="2" charset="77"/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1DCBED87-AABB-40E5-B1A5-9B87E79975F4}"/>
              </a:ext>
            </a:extLst>
          </p:cNvPr>
          <p:cNvSpPr txBox="1"/>
          <p:nvPr/>
        </p:nvSpPr>
        <p:spPr>
          <a:xfrm>
            <a:off x="8280884" y="198700"/>
            <a:ext cx="391111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100" dirty="0"/>
              <a:t>※</a:t>
            </a:r>
            <a:r>
              <a:rPr kumimoji="1" lang="ja-JP" altLang="en-US" sz="1100" dirty="0"/>
              <a:t>見出しのレイアウトは、各事業者様の様式で構いません。</a:t>
            </a:r>
            <a:endParaRPr kumimoji="1" lang="en-US" altLang="ja-JP" sz="1100" dirty="0"/>
          </a:p>
          <a:p>
            <a:r>
              <a:rPr kumimoji="1" lang="en-US" altLang="ja-JP" sz="1100" dirty="0"/>
              <a:t>※</a:t>
            </a:r>
            <a:r>
              <a:rPr lang="ja-JP" altLang="en-US" sz="1100" dirty="0">
                <a:solidFill>
                  <a:srgbClr val="FF0000"/>
                </a:solidFill>
              </a:rPr>
              <a:t>★</a:t>
            </a:r>
            <a:r>
              <a:rPr lang="ja-JP" altLang="en-US" sz="1100" dirty="0"/>
              <a:t>箇所はアレンジ不可</a:t>
            </a:r>
            <a:r>
              <a:rPr kumimoji="1" lang="ja-JP" altLang="en-US" sz="1100" dirty="0"/>
              <a:t>。</a:t>
            </a:r>
          </a:p>
        </p:txBody>
      </p:sp>
      <p:cxnSp>
        <p:nvCxnSpPr>
          <p:cNvPr id="19" name="Straight Arrow Connector 100">
            <a:extLst>
              <a:ext uri="{FF2B5EF4-FFF2-40B4-BE49-F238E27FC236}">
                <a16:creationId xmlns:a16="http://schemas.microsoft.com/office/drawing/2014/main" id="{7BF7B83E-A6BE-A09C-28D3-7C188F49F2CE}"/>
              </a:ext>
            </a:extLst>
          </p:cNvPr>
          <p:cNvCxnSpPr>
            <a:cxnSpLocks/>
          </p:cNvCxnSpPr>
          <p:nvPr/>
        </p:nvCxnSpPr>
        <p:spPr>
          <a:xfrm>
            <a:off x="5984702" y="2025504"/>
            <a:ext cx="5132719" cy="0"/>
          </a:xfrm>
          <a:prstGeom prst="straightConnector1">
            <a:avLst/>
          </a:prstGeom>
          <a:ln w="9525" cap="flat" cmpd="sng" algn="ctr">
            <a:solidFill>
              <a:schemeClr val="dk1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7" name="TextBox 83">
            <a:extLst>
              <a:ext uri="{FF2B5EF4-FFF2-40B4-BE49-F238E27FC236}">
                <a16:creationId xmlns:a16="http://schemas.microsoft.com/office/drawing/2014/main" id="{1161B66A-122F-9753-AB0A-B4D473016543}"/>
              </a:ext>
            </a:extLst>
          </p:cNvPr>
          <p:cNvSpPr txBox="1"/>
          <p:nvPr/>
        </p:nvSpPr>
        <p:spPr>
          <a:xfrm>
            <a:off x="11042550" y="1887139"/>
            <a:ext cx="27271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dirty="0">
                <a:latin typeface="+mn-ea"/>
              </a:rPr>
              <a:t>•</a:t>
            </a:r>
            <a:endParaRPr lang="ja-JP" altLang="en-US" sz="1500" dirty="0">
              <a:latin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467278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nIGDDiik1ljMnU3OQ0KA"/>
</p:tagLst>
</file>

<file path=ppt/theme/theme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ECF6A5747EBDAE498D327A34A2E90123" ma:contentTypeVersion="19" ma:contentTypeDescription="新しいドキュメントを作成します。" ma:contentTypeScope="" ma:versionID="5be03fffe1442ffd3a39e4af002cd7e7">
  <xsd:schema xmlns:xsd="http://www.w3.org/2001/XMLSchema" xmlns:xs="http://www.w3.org/2001/XMLSchema" xmlns:p="http://schemas.microsoft.com/office/2006/metadata/properties" xmlns:ns2="9da38f42-0d64-40e6-866c-ef653a399e8e" xmlns:ns3="8aca2e23-542c-4e79-9417-b97ba4807444" targetNamespace="http://schemas.microsoft.com/office/2006/metadata/properties" ma:root="true" ma:fieldsID="df8574a8227fbb17fe58f9b8a545a0c8" ns2:_="" ns3:_="">
    <xsd:import namespace="9da38f42-0d64-40e6-866c-ef653a399e8e"/>
    <xsd:import namespace="8aca2e23-542c-4e79-9417-b97ba480744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No_x002e_" minOccurs="0"/>
                <xsd:element ref="ns3:Ver_x002e_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a38f42-0d64-40e6-866c-ef653a399e8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bcd142c7-d5a7-415a-a6a7-a18809bbfb70}" ma:internalName="TaxCatchAll" ma:showField="CatchAllData" ma:web="9da38f42-0d64-40e6-866c-ef653a399e8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ca2e23-542c-4e79-9417-b97ba480744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No_x002e_" ma:index="17" nillable="true" ma:displayName="No." ma:format="Dropdown" ma:indexed="true" ma:internalName="No_x002e_" ma:percentage="FALSE">
      <xsd:simpleType>
        <xsd:restriction base="dms:Number"/>
      </xsd:simpleType>
    </xsd:element>
    <xsd:element name="Ver_x002e_" ma:index="18" nillable="true" ma:displayName="Ver." ma:format="Dropdown" ma:internalName="Ver_x002e_">
      <xsd:simpleType>
        <xsd:restriction base="dms:Text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画像タグ" ma:readOnly="false" ma:fieldId="{5cf76f15-5ced-4ddc-b409-7134ff3c332f}" ma:taxonomyMulti="true" ma:sspId="8362b3f2-9331-4896-a5d0-d66b495cbda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_x002e_ xmlns="8aca2e23-542c-4e79-9417-b97ba4807444" xsi:nil="true"/>
    <No_x002e_ xmlns="8aca2e23-542c-4e79-9417-b97ba4807444" xsi:nil="true"/>
    <TaxCatchAll xmlns="9da38f42-0d64-40e6-866c-ef653a399e8e" xsi:nil="true"/>
    <lcf76f155ced4ddcb4097134ff3c332f xmlns="8aca2e23-542c-4e79-9417-b97ba4807444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6FEBB85D-3448-4E3F-9E0C-E0E4F0ACF31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A35586B-414B-401F-9DA4-DE0C24E4C8B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a38f42-0d64-40e6-866c-ef653a399e8e"/>
    <ds:schemaRef ds:uri="8aca2e23-542c-4e79-9417-b97ba48074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ED0BFCF-26B0-4B09-87D5-918CB7404A3D}">
  <ds:schemaRefs>
    <ds:schemaRef ds:uri="http://schemas.microsoft.com/office/infopath/2007/PartnerControls"/>
    <ds:schemaRef ds:uri="http://purl.org/dc/dcmitype/"/>
    <ds:schemaRef ds:uri="9da38f42-0d64-40e6-866c-ef653a399e8e"/>
    <ds:schemaRef ds:uri="http://purl.org/dc/elements/1.1/"/>
    <ds:schemaRef ds:uri="http://schemas.microsoft.com/office/2006/metadata/properties"/>
    <ds:schemaRef ds:uri="8aca2e23-542c-4e79-9417-b97ba4807444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439</TotalTime>
  <Words>318</Words>
  <Application>Microsoft Office PowerPoint</Application>
  <PresentationFormat>ワイド画面</PresentationFormat>
  <Paragraphs>64</Paragraphs>
  <Slides>4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4</vt:i4>
      </vt:variant>
    </vt:vector>
  </HeadingPairs>
  <TitlesOfParts>
    <vt:vector size="11" baseType="lpstr">
      <vt:lpstr>HGSｺﾞｼｯｸM</vt:lpstr>
      <vt:lpstr>游ゴシック</vt:lpstr>
      <vt:lpstr>游ゴシック Light</vt:lpstr>
      <vt:lpstr>Arial</vt:lpstr>
      <vt:lpstr>Calibri</vt:lpstr>
      <vt:lpstr>Office テーマ</vt:lpstr>
      <vt:lpstr>think-cell スライド</vt:lpstr>
      <vt:lpstr>〈例〉 年齢・形態：50代夫婦   関心ｺﾝﾃﾝﾂ：文化体験、日本食 予約方法　：旅行会社 接触ﾒﾃﾞｨｱ ：旅行雑誌 　　　　　　　　　　　　　　　　　　　　　　　　　　　　　　　</vt:lpstr>
      <vt:lpstr>PowerPoint プレゼンテーション</vt:lpstr>
      <vt:lpstr>〈B to B〉</vt:lpstr>
      <vt:lpstr>PowerPoint プレゼンテーション</vt:lpstr>
    </vt:vector>
  </TitlesOfParts>
  <Company>-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-</dc:title>
  <dc:creator>-</dc:creator>
  <cp:lastModifiedBy>川上</cp:lastModifiedBy>
  <cp:revision>15</cp:revision>
  <cp:lastPrinted>2023-02-02T05:44:01Z</cp:lastPrinted>
  <dcterms:created xsi:type="dcterms:W3CDTF">2022-03-30T02:41:36Z</dcterms:created>
  <dcterms:modified xsi:type="dcterms:W3CDTF">2024-03-28T08:38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F6A5747EBDAE498D327A34A2E90123</vt:lpwstr>
  </property>
</Properties>
</file>